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8" r:id="rId1"/>
  </p:sldMasterIdLst>
  <p:notesMasterIdLst>
    <p:notesMasterId r:id="rId8"/>
  </p:notesMasterIdLst>
  <p:handoutMasterIdLst>
    <p:handoutMasterId r:id="rId9"/>
  </p:handoutMasterIdLst>
  <p:sldIdLst>
    <p:sldId id="598" r:id="rId2"/>
    <p:sldId id="636" r:id="rId3"/>
    <p:sldId id="610" r:id="rId4"/>
    <p:sldId id="635" r:id="rId5"/>
    <p:sldId id="637" r:id="rId6"/>
    <p:sldId id="638" r:id="rId7"/>
  </p:sldIdLst>
  <p:sldSz cx="9720263" cy="7199313"/>
  <p:notesSz cx="6797675" cy="9928225"/>
  <p:defaultTextStyle>
    <a:defPPr>
      <a:defRPr lang="uk-UA"/>
    </a:defPPr>
    <a:lvl1pPr marL="0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1pPr>
    <a:lvl2pPr marL="397444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2pPr>
    <a:lvl3pPr marL="794888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3pPr>
    <a:lvl4pPr marL="1192332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4pPr>
    <a:lvl5pPr marL="1589776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5pPr>
    <a:lvl6pPr marL="1987220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6pPr>
    <a:lvl7pPr marL="2384664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7pPr>
    <a:lvl8pPr marL="2782108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8pPr>
    <a:lvl9pPr marL="3179552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4286" userDrawn="1">
          <p15:clr>
            <a:srgbClr val="A4A3A4"/>
          </p15:clr>
        </p15:guide>
        <p15:guide id="5" orient="horz" pos="680" userDrawn="1">
          <p15:clr>
            <a:srgbClr val="A4A3A4"/>
          </p15:clr>
        </p15:guide>
        <p15:guide id="6" pos="159" userDrawn="1">
          <p15:clr>
            <a:srgbClr val="A4A3A4"/>
          </p15:clr>
        </p15:guide>
        <p15:guide id="7" pos="596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алажук Іван Валерійович" initials="ПІВ" lastIdx="1" clrIdx="0">
    <p:extLst/>
  </p:cmAuthor>
  <p:cmAuthor id="9" name="Гартінгер Роман Олегович" initials="ГРО" lastIdx="4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C8DF"/>
    <a:srgbClr val="5DB059"/>
    <a:srgbClr val="FFFFFF"/>
    <a:srgbClr val="59AF5A"/>
    <a:srgbClr val="D5DADE"/>
    <a:srgbClr val="50748A"/>
    <a:srgbClr val="91CA64"/>
    <a:srgbClr val="057C48"/>
    <a:srgbClr val="BDDFA2"/>
    <a:srgbClr val="B7B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Помірний стиль 2 –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Помірний стиль 3 –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Без стилю та сі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Помірний стиль 2 –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ітлий стиль 1 –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ітлий стиль 3 –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Помірний стиль 4 –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6" autoAdjust="0"/>
    <p:restoredTop sz="95736" autoAdjust="0"/>
  </p:normalViewPr>
  <p:slideViewPr>
    <p:cSldViewPr snapToGrid="0">
      <p:cViewPr varScale="1">
        <p:scale>
          <a:sx n="121" d="100"/>
          <a:sy n="121" d="100"/>
        </p:scale>
        <p:origin x="1074" y="102"/>
      </p:cViewPr>
      <p:guideLst>
        <p:guide orient="horz" pos="4286"/>
        <p:guide orient="horz" pos="680"/>
        <p:guide pos="159"/>
        <p:guide pos="59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766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742" tIns="45871" rIns="91742" bIns="45871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742" tIns="45871" rIns="91742" bIns="45871" rtlCol="0"/>
          <a:lstStyle>
            <a:lvl1pPr algn="r">
              <a:defRPr sz="1200"/>
            </a:lvl1pPr>
          </a:lstStyle>
          <a:p>
            <a:fld id="{232CA245-E0B9-4C5A-94A5-CD0112A7BECB}" type="datetimeFigureOut">
              <a:rPr lang="uk-UA" smtClean="0"/>
              <a:t>14.03.2019</a:t>
            </a:fld>
            <a:endParaRPr lang="uk-UA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742" tIns="45871" rIns="91742" bIns="45871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742" tIns="45871" rIns="91742" bIns="45871" rtlCol="0" anchor="b"/>
          <a:lstStyle>
            <a:lvl1pPr algn="r">
              <a:defRPr sz="1200"/>
            </a:lvl1pPr>
          </a:lstStyle>
          <a:p>
            <a:fld id="{32C7525F-19CD-4E28-8CF7-0B214305EA40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28573450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135"/>
          </a:xfrm>
          <a:prstGeom prst="rect">
            <a:avLst/>
          </a:prstGeom>
        </p:spPr>
        <p:txBody>
          <a:bodyPr vert="horz" lIns="91742" tIns="45871" rIns="91742" bIns="45871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8135"/>
          </a:xfrm>
          <a:prstGeom prst="rect">
            <a:avLst/>
          </a:prstGeom>
        </p:spPr>
        <p:txBody>
          <a:bodyPr vert="horz" lIns="91742" tIns="45871" rIns="91742" bIns="45871" rtlCol="0"/>
          <a:lstStyle>
            <a:lvl1pPr algn="r">
              <a:defRPr sz="1200"/>
            </a:lvl1pPr>
          </a:lstStyle>
          <a:p>
            <a:fld id="{2CA95DA6-94DC-4768-AF78-72502274A79C}" type="datetimeFigureOut">
              <a:rPr lang="uk-UA" smtClean="0"/>
              <a:t>14.03.2019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38238" y="1241425"/>
            <a:ext cx="45212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42" tIns="45871" rIns="91742" bIns="45871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742" tIns="45871" rIns="91742" bIns="4587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1742" tIns="45871" rIns="91742" bIns="45871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1742" tIns="45871" rIns="91742" bIns="45871" rtlCol="0" anchor="b"/>
          <a:lstStyle>
            <a:lvl1pPr algn="r">
              <a:defRPr sz="1200"/>
            </a:lvl1pPr>
          </a:lstStyle>
          <a:p>
            <a:fld id="{DC57CC7E-0D13-4E28-8FDF-9AA0A5C46D34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04748728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55051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3152936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внутрішні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" y="1"/>
            <a:ext cx="2560271" cy="7208448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8486" h="6866702">
                <a:moveTo>
                  <a:pt x="0" y="0"/>
                </a:moveTo>
                <a:lnTo>
                  <a:pt x="2408486" y="2032"/>
                </a:lnTo>
                <a:lnTo>
                  <a:pt x="768175" y="6866702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>
              <a:solidFill>
                <a:prstClr val="white"/>
              </a:solidFill>
            </a:endParaRPr>
          </a:p>
        </p:txBody>
      </p:sp>
      <p:pic>
        <p:nvPicPr>
          <p:cNvPr id="8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6" r="81499"/>
          <a:stretch/>
        </p:blipFill>
        <p:spPr bwMode="auto">
          <a:xfrm>
            <a:off x="1" y="0"/>
            <a:ext cx="1491508" cy="719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11"/>
          <p:cNvSpPr/>
          <p:nvPr userDrawn="1"/>
        </p:nvSpPr>
        <p:spPr>
          <a:xfrm>
            <a:off x="9070235" y="4544570"/>
            <a:ext cx="650030" cy="2654743"/>
          </a:xfrm>
          <a:custGeom>
            <a:avLst/>
            <a:gdLst>
              <a:gd name="connsiteX0" fmla="*/ 0 w 611493"/>
              <a:gd name="connsiteY0" fmla="*/ 0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  <a:gd name="connsiteX4" fmla="*/ 0 w 611493"/>
              <a:gd name="connsiteY4" fmla="*/ 0 h 2528884"/>
              <a:gd name="connsiteX0" fmla="*/ 0 w 611493"/>
              <a:gd name="connsiteY0" fmla="*/ 2528884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493" h="2528884">
                <a:moveTo>
                  <a:pt x="0" y="2528884"/>
                </a:moveTo>
                <a:lnTo>
                  <a:pt x="611493" y="0"/>
                </a:lnTo>
                <a:lnTo>
                  <a:pt x="611493" y="2528884"/>
                </a:lnTo>
                <a:lnTo>
                  <a:pt x="0" y="2528884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>
              <a:solidFill>
                <a:prstClr val="white"/>
              </a:solidFill>
            </a:endParaRPr>
          </a:p>
        </p:txBody>
      </p:sp>
      <p:sp>
        <p:nvSpPr>
          <p:cNvPr id="10" name="Прямоугольник 12"/>
          <p:cNvSpPr/>
          <p:nvPr userDrawn="1"/>
        </p:nvSpPr>
        <p:spPr>
          <a:xfrm>
            <a:off x="1" y="575937"/>
            <a:ext cx="3341478" cy="945585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 dirty="0">
              <a:solidFill>
                <a:prstClr val="white"/>
              </a:solidFill>
            </a:endParaRPr>
          </a:p>
        </p:txBody>
      </p:sp>
      <p:pic>
        <p:nvPicPr>
          <p:cNvPr id="11" name="Picture 2" descr="D:\ANNA\РЕБРЕНДИНГ\Templates\PowerPoint\Logo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557" y="820639"/>
            <a:ext cx="1913526" cy="511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372662" y="2843823"/>
            <a:ext cx="6505516" cy="755833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047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86100" y="5489240"/>
            <a:ext cx="4592250" cy="3779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spcAft>
                <a:spcPts val="472"/>
              </a:spcAft>
              <a:buNone/>
              <a:defRPr sz="1102" b="1" baseline="0">
                <a:solidFill>
                  <a:schemeClr val="tx1"/>
                </a:solidFill>
              </a:defRPr>
            </a:lvl1pPr>
            <a:lvl2pPr marL="359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9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7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99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59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1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79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ПІБ доповідача</a:t>
            </a:r>
            <a:endParaRPr lang="uk-UA" noProof="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5625506" y="887293"/>
            <a:ext cx="3252672" cy="377917"/>
          </a:xfrm>
          <a:prstGeom prst="rect">
            <a:avLst/>
          </a:prstGeom>
        </p:spPr>
        <p:txBody>
          <a:bodyPr anchor="ctr"/>
          <a:lstStyle>
            <a:lvl1pPr marL="0" indent="0" algn="r">
              <a:buFontTx/>
              <a:buNone/>
              <a:defRPr sz="945"/>
            </a:lvl1pPr>
          </a:lstStyle>
          <a:p>
            <a:pPr lvl="0"/>
            <a:r>
              <a:rPr lang="uk-UA" noProof="0" dirty="0" smtClean="0"/>
              <a:t>текст</a:t>
            </a:r>
            <a:endParaRPr lang="uk-UA" noProof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2372663" y="2271314"/>
            <a:ext cx="6505688" cy="56687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205"/>
            </a:lvl1pPr>
          </a:lstStyle>
          <a:p>
            <a:pPr lvl="0"/>
            <a:r>
              <a:rPr lang="ru-RU" dirty="0" smtClean="0"/>
              <a:t>Проект:</a:t>
            </a:r>
            <a:endParaRPr lang="uk-UA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2372691" y="3790170"/>
            <a:ext cx="6505489" cy="56827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60"/>
            </a:lvl1pPr>
          </a:lstStyle>
          <a:p>
            <a:pPr lvl="0"/>
            <a:r>
              <a:rPr lang="uk-UA" noProof="0" dirty="0" smtClean="0"/>
              <a:t>Опис проекту</a:t>
            </a:r>
          </a:p>
          <a:p>
            <a:pPr lvl="0"/>
            <a:endParaRPr lang="uk-UA" noProof="0" dirty="0"/>
          </a:p>
        </p:txBody>
      </p:sp>
      <p:sp>
        <p:nvSpPr>
          <p:cNvPr id="17" name="Текст 16"/>
          <p:cNvSpPr>
            <a:spLocks noGrp="1"/>
          </p:cNvSpPr>
          <p:nvPr>
            <p:ph type="body" sz="quarter" idx="13" hasCustomPrompt="1"/>
          </p:nvPr>
        </p:nvSpPr>
        <p:spPr>
          <a:xfrm>
            <a:off x="4285928" y="5880270"/>
            <a:ext cx="4592250" cy="367762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102"/>
            </a:lvl1pPr>
          </a:lstStyle>
          <a:p>
            <a:pPr lvl="0"/>
            <a:r>
              <a:rPr lang="uk-UA" noProof="0" dirty="0" smtClean="0"/>
              <a:t>Посада доповідача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85928" y="6660155"/>
            <a:ext cx="4592250" cy="37791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102"/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5" hasCustomPrompt="1"/>
          </p:nvPr>
        </p:nvSpPr>
        <p:spPr>
          <a:xfrm>
            <a:off x="4285928" y="6128448"/>
            <a:ext cx="4592250" cy="453500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102"/>
            </a:lvl1pPr>
          </a:lstStyle>
          <a:p>
            <a:pPr lvl="0"/>
            <a:r>
              <a:rPr lang="uk-UA" noProof="0" dirty="0" smtClean="0"/>
              <a:t>Назва комітету (або заходу), на засіданні якого відбудеться доповідь</a:t>
            </a:r>
          </a:p>
        </p:txBody>
      </p:sp>
    </p:spTree>
    <p:extLst>
      <p:ext uri="{BB962C8B-B14F-4D97-AF65-F5344CB8AC3E}">
        <p14:creationId xmlns:p14="http://schemas.microsoft.com/office/powerpoint/2010/main" val="35604433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  <p15:guide id="2" pos="394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827788"/>
            <a:ext cx="719287" cy="397993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 sz="1600">
                <a:solidFill>
                  <a:schemeClr val="accent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/>
              <a:pPr algn="r"/>
              <a:t>‹№›</a:t>
            </a:fld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85851" y="304208"/>
            <a:ext cx="8120063" cy="44097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7692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827788"/>
            <a:ext cx="719287" cy="397993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 sz="1600">
                <a:solidFill>
                  <a:schemeClr val="accent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/>
              <a:pPr algn="r"/>
              <a:t>‹№›</a:t>
            </a:fld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85851" y="304935"/>
            <a:ext cx="8120063" cy="440248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236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5851" y="57848"/>
            <a:ext cx="8120063" cy="6873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1"/>
            <a:ext cx="719287" cy="397993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/>
              <a:pPr algn="r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72646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1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798" tIns="45399" rIns="90798" bIns="45399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945" u="sng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619673" y="535818"/>
            <a:ext cx="7056784" cy="463325"/>
          </a:xfrm>
          <a:prstGeom prst="rect">
            <a:avLst/>
          </a:prstGeom>
          <a:noFill/>
        </p:spPr>
        <p:txBody>
          <a:bodyPr wrap="square" lIns="90798" tIns="45399" rIns="90798" bIns="45399" rtlCol="0">
            <a:spAutoFit/>
          </a:bodyPr>
          <a:lstStyle/>
          <a:p>
            <a:pPr defTabSz="95993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415" b="1" dirty="0">
                <a:solidFill>
                  <a:srgbClr val="007236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НАЦІОНАЛЬНИЙ БАНК УКРАЇНИ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33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33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8025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95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65"/>
            </a:lvl1pPr>
          </a:lstStyle>
          <a:p>
            <a:pPr lvl="0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6565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9" y="1668"/>
          <a:ext cx="1687" cy="16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9" y="1668"/>
                        <a:ext cx="1687" cy="16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1264" y="1259444"/>
            <a:ext cx="8154987" cy="504094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85851" y="308113"/>
            <a:ext cx="8120063" cy="6873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2"/>
            <a:ext cx="719287" cy="397992"/>
          </a:xfrm>
          <a:prstGeom prst="rect">
            <a:avLst/>
          </a:prstGeom>
        </p:spPr>
        <p:txBody>
          <a:bodyPr lIns="91432" tIns="45716" rIns="91432" bIns="45716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№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165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5851" y="308113"/>
            <a:ext cx="8120063" cy="68733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2"/>
            <a:ext cx="719287" cy="397992"/>
          </a:xfrm>
          <a:prstGeom prst="rect">
            <a:avLst/>
          </a:prstGeom>
        </p:spPr>
        <p:txBody>
          <a:bodyPr lIns="91432" tIns="45716" rIns="91432" bIns="45716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№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28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азделитель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1034716" y="36113"/>
            <a:ext cx="8554452" cy="91480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798" tIns="45399" rIns="90798" bIns="45399" numCol="1" rtlCol="0" anchor="t" anchorCtr="0" compatLnSpc="1">
            <a:prstTxWarp prst="textNoShape">
              <a:avLst/>
            </a:prstTxWarp>
          </a:bodyPr>
          <a:lstStyle/>
          <a:p>
            <a:pPr defTabSz="908005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945" u="sng" dirty="0">
              <a:solidFill>
                <a:srgbClr val="0C0C0C"/>
              </a:solidFill>
              <a:latin typeface="Arial" pitchFamily="34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82620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1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988" u="sng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619673" y="535817"/>
            <a:ext cx="7056784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5993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2370" b="1" dirty="0">
                <a:solidFill>
                  <a:srgbClr val="007236"/>
                </a:solidFill>
                <a:ea typeface="MS PGothic" pitchFamily="34" charset="-128"/>
                <a:cs typeface="Arial" pitchFamily="34" charset="0"/>
              </a:rPr>
              <a:t>НАЦІОНАЛЬНИЙ БАНК УКРАЇНИ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33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33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8025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975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83"/>
            </a:lvl1pPr>
          </a:lstStyle>
          <a:p>
            <a:pPr lvl="0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211922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1264" y="1259444"/>
            <a:ext cx="8154987" cy="504094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85851" y="1"/>
            <a:ext cx="8120063" cy="9954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2"/>
            <a:ext cx="719287" cy="397992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№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57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085851" y="1"/>
            <a:ext cx="8120063" cy="9954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2"/>
            <a:ext cx="719287" cy="397992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srgbClr val="255327"/>
                </a:solidFill>
              </a:rPr>
              <a:pPr algn="r"/>
              <a:t>‹№›</a:t>
            </a:fld>
            <a:endParaRPr lang="uk-UA" dirty="0">
              <a:solidFill>
                <a:srgbClr val="2553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0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зовнішній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6"/>
          <p:cNvSpPr/>
          <p:nvPr userDrawn="1"/>
        </p:nvSpPr>
        <p:spPr>
          <a:xfrm>
            <a:off x="1" y="1"/>
            <a:ext cx="2560271" cy="7208448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08486" h="6866702">
                <a:moveTo>
                  <a:pt x="0" y="0"/>
                </a:moveTo>
                <a:lnTo>
                  <a:pt x="2408486" y="2032"/>
                </a:lnTo>
                <a:lnTo>
                  <a:pt x="768175" y="6866702"/>
                </a:lnTo>
                <a:lnTo>
                  <a:pt x="0" y="685799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>
              <a:solidFill>
                <a:prstClr val="white"/>
              </a:solidFill>
            </a:endParaRPr>
          </a:p>
        </p:txBody>
      </p:sp>
      <p:pic>
        <p:nvPicPr>
          <p:cNvPr id="22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6" r="81499"/>
          <a:stretch/>
        </p:blipFill>
        <p:spPr bwMode="auto">
          <a:xfrm>
            <a:off x="1" y="0"/>
            <a:ext cx="1491508" cy="719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G:\Шаблоны\НБУ new\Presentation-02.jpg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588"/>
          <a:stretch/>
        </p:blipFill>
        <p:spPr bwMode="auto">
          <a:xfrm>
            <a:off x="6375349" y="0"/>
            <a:ext cx="3344914" cy="719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12"/>
          <p:cNvSpPr/>
          <p:nvPr userDrawn="1"/>
        </p:nvSpPr>
        <p:spPr>
          <a:xfrm>
            <a:off x="1" y="575937"/>
            <a:ext cx="3341478" cy="945585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 dirty="0">
              <a:solidFill>
                <a:prstClr val="white"/>
              </a:solidFill>
            </a:endParaRPr>
          </a:p>
        </p:txBody>
      </p:sp>
      <p:pic>
        <p:nvPicPr>
          <p:cNvPr id="11" name="Picture 2" descr="D:\ANNA\РЕБРЕНДИНГ\Templates\PowerPoint\Logo.png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557" y="820639"/>
            <a:ext cx="1913526" cy="511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2372663" y="2654865"/>
            <a:ext cx="4783594" cy="94479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047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372663" y="5867157"/>
            <a:ext cx="4592250" cy="3779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spcAft>
                <a:spcPts val="472"/>
              </a:spcAft>
              <a:buNone/>
              <a:defRPr sz="1102" b="1" baseline="0">
                <a:solidFill>
                  <a:schemeClr val="tx1"/>
                </a:solidFill>
              </a:defRPr>
            </a:lvl1pPr>
            <a:lvl2pPr marL="359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9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7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99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59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1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79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2372691" y="3790168"/>
            <a:ext cx="4783567" cy="75428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60"/>
            </a:lvl1pPr>
          </a:lstStyle>
          <a:p>
            <a:pPr lvl="0"/>
            <a:r>
              <a:rPr lang="uk-UA" noProof="0" dirty="0" smtClean="0"/>
              <a:t>Підзаголовок</a:t>
            </a:r>
            <a:endParaRPr lang="uk-UA" noProof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2372663" y="6244785"/>
            <a:ext cx="4592250" cy="377917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2"/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14773933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706">
          <p15:clr>
            <a:srgbClr val="FBAE40"/>
          </p15:clr>
        </p15:guide>
        <p15:guide id="2" pos="39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азделитель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auto">
          <a:xfrm>
            <a:off x="1034716" y="36113"/>
            <a:ext cx="8554452" cy="91480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300" tIns="45151" rIns="90300" bIns="45151" numCol="1" rtlCol="0" anchor="t" anchorCtr="0" compatLnSpc="1">
            <a:prstTxWarp prst="textNoShape">
              <a:avLst/>
            </a:prstTxWarp>
          </a:bodyPr>
          <a:lstStyle/>
          <a:p>
            <a:pPr defTabSz="959937" eaLnBrk="0" fontAlgn="base" hangingPunct="0">
              <a:spcBef>
                <a:spcPct val="0"/>
              </a:spcBef>
              <a:spcAft>
                <a:spcPct val="0"/>
              </a:spcAft>
            </a:pPr>
            <a:endParaRPr lang="uk-UA" sz="988" u="sng" dirty="0">
              <a:solidFill>
                <a:srgbClr val="0C0C0C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1030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268" y="250419"/>
            <a:ext cx="9032586" cy="64713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44260" y="6672810"/>
            <a:ext cx="2268062" cy="383296"/>
          </a:xfrm>
          <a:prstGeom prst="rect">
            <a:avLst/>
          </a:prstGeom>
        </p:spPr>
        <p:txBody>
          <a:bodyPr lIns="96234" tIns="48118" rIns="96234" bIns="48118"/>
          <a:lstStyle/>
          <a:p>
            <a:pPr defTabSz="960453"/>
            <a:endParaRPr lang="de-DE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612319" y="6672810"/>
            <a:ext cx="4496466" cy="383296"/>
          </a:xfrm>
          <a:prstGeom prst="rect">
            <a:avLst/>
          </a:prstGeom>
        </p:spPr>
        <p:txBody>
          <a:bodyPr lIns="96234" tIns="48118" rIns="96234" bIns="48118"/>
          <a:lstStyle/>
          <a:p>
            <a:pPr defTabSz="960453"/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748571" y="6553386"/>
            <a:ext cx="838200" cy="479636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smtClean="0"/>
              <a:pPr/>
              <a:t>‹№›</a:t>
            </a:fld>
            <a:endParaRPr lang="de-DE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44268" y="897548"/>
            <a:ext cx="9031744" cy="35297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1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955441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1264" y="1259444"/>
            <a:ext cx="8154987" cy="504094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fld id="{D1197F7C-D3FA-4307-B255-288899BB8455}" type="slidenum">
              <a:rPr lang="uk-UA" smtClean="0"/>
              <a:pPr/>
              <a:t>‹№›</a:t>
            </a:fld>
            <a:endParaRPr lang="uk-UA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085851" y="1"/>
            <a:ext cx="8120063" cy="99544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206933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268" y="250419"/>
            <a:ext cx="9032586" cy="64713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344260" y="6672810"/>
            <a:ext cx="2268062" cy="383296"/>
          </a:xfrm>
          <a:prstGeom prst="rect">
            <a:avLst/>
          </a:prstGeom>
        </p:spPr>
        <p:txBody>
          <a:bodyPr lIns="96234" tIns="48118" rIns="96234" bIns="48118"/>
          <a:lstStyle/>
          <a:p>
            <a:pPr defTabSz="960453"/>
            <a:endParaRPr lang="de-DE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612319" y="6672810"/>
            <a:ext cx="4496466" cy="383296"/>
          </a:xfrm>
          <a:prstGeom prst="rect">
            <a:avLst/>
          </a:prstGeom>
        </p:spPr>
        <p:txBody>
          <a:bodyPr lIns="96234" tIns="48118" rIns="96234" bIns="48118"/>
          <a:lstStyle/>
          <a:p>
            <a:pPr defTabSz="960453"/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748571" y="6553386"/>
            <a:ext cx="838200" cy="479636"/>
          </a:xfrm>
          <a:prstGeom prst="rect">
            <a:avLst/>
          </a:prstGeom>
        </p:spPr>
        <p:txBody>
          <a:bodyPr/>
          <a:lstStyle/>
          <a:p>
            <a:fld id="{9DC1E638-3F78-4E0D-883A-B278700C48C0}" type="slidenum">
              <a:rPr lang="de-DE" smtClean="0"/>
              <a:pPr/>
              <a:t>‹№›</a:t>
            </a:fld>
            <a:endParaRPr lang="de-DE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44268" y="897548"/>
            <a:ext cx="9031744" cy="35297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>
              <a:buNone/>
              <a:defRPr sz="2100"/>
            </a:lvl1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16886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42086" y="350437"/>
            <a:ext cx="8419125" cy="75583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100" b="1"/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53357" y="6622990"/>
            <a:ext cx="1913438" cy="377917"/>
          </a:xfrm>
          <a:prstGeom prst="rect">
            <a:avLst/>
          </a:prstGeom>
        </p:spPr>
        <p:txBody>
          <a:bodyPr/>
          <a:lstStyle/>
          <a:p>
            <a:fld id="{2BFB3B38-107A-41A8-AB75-3D42100AC2B6}" type="slidenum">
              <a:rPr lang="uk-UA" smtClean="0"/>
              <a:t>‹№›</a:t>
            </a:fld>
            <a:endParaRPr lang="uk-UA" dirty="0"/>
          </a:p>
        </p:txBody>
      </p:sp>
      <p:cxnSp>
        <p:nvCxnSpPr>
          <p:cNvPr id="8" name="Пряма сполучна лінія 7"/>
          <p:cNvCxnSpPr/>
          <p:nvPr userDrawn="1"/>
        </p:nvCxnSpPr>
        <p:spPr>
          <a:xfrm>
            <a:off x="847617" y="1143198"/>
            <a:ext cx="841912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Объект 3"/>
          <p:cNvSpPr>
            <a:spLocks noGrp="1"/>
          </p:cNvSpPr>
          <p:nvPr>
            <p:ph sz="quarter" idx="13" hasCustomPrompt="1"/>
          </p:nvPr>
        </p:nvSpPr>
        <p:spPr>
          <a:xfrm>
            <a:off x="834879" y="1521523"/>
            <a:ext cx="8419165" cy="5101179"/>
          </a:xfrm>
          <a:prstGeom prst="rect">
            <a:avLst/>
          </a:prstGeom>
        </p:spPr>
        <p:txBody>
          <a:bodyPr/>
          <a:lstStyle>
            <a:lvl1pPr marL="376642" indent="-279982">
              <a:spcBef>
                <a:spcPts val="42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80"/>
            </a:lvl1pPr>
            <a:lvl2pPr marL="751618" indent="-279982">
              <a:spcBef>
                <a:spcPts val="4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70"/>
            </a:lvl2pPr>
            <a:lvl3pPr marL="1128260" indent="-279982">
              <a:spcBef>
                <a:spcPts val="4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70"/>
            </a:lvl3pPr>
            <a:lvl4pPr marL="1503235" indent="-279982">
              <a:spcBef>
                <a:spcPts val="4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70"/>
            </a:lvl4pPr>
            <a:lvl5pPr marL="1879877" indent="-279982">
              <a:spcBef>
                <a:spcPts val="42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70"/>
            </a:lvl5pPr>
          </a:lstStyle>
          <a:p>
            <a:pPr lvl="0"/>
            <a:r>
              <a:rPr lang="uk-UA" noProof="0" dirty="0" smtClean="0"/>
              <a:t>Текст</a:t>
            </a:r>
          </a:p>
          <a:p>
            <a:pPr lvl="1"/>
            <a:r>
              <a:rPr lang="uk-UA" noProof="0" dirty="0" smtClean="0"/>
              <a:t>Другий рівень</a:t>
            </a:r>
          </a:p>
          <a:p>
            <a:pPr lvl="2"/>
            <a:r>
              <a:rPr lang="uk-UA" noProof="0" dirty="0" smtClean="0"/>
              <a:t>Третій рівень</a:t>
            </a:r>
          </a:p>
          <a:p>
            <a:pPr lvl="3"/>
            <a:r>
              <a:rPr lang="uk-UA" noProof="0" dirty="0" smtClean="0"/>
              <a:t>Четвертий рівень</a:t>
            </a:r>
          </a:p>
          <a:p>
            <a:pPr lvl="4"/>
            <a:r>
              <a:rPr lang="uk-UA" noProof="0" dirty="0" smtClean="0"/>
              <a:t>П’ятий рівень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27926246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pos="499">
          <p15:clr>
            <a:srgbClr val="FBAE40"/>
          </p15:clr>
        </p15:guide>
        <p15:guide id="3" orient="horz" pos="3974">
          <p15:clr>
            <a:srgbClr val="FBAE40"/>
          </p15:clr>
        </p15:guide>
        <p15:guide id="4" pos="5488">
          <p15:clr>
            <a:srgbClr val="FBAE40"/>
          </p15:clr>
        </p15:guide>
        <p15:guide id="5" orient="horz" pos="2448">
          <p15:clr>
            <a:srgbClr val="FBAE40"/>
          </p15:clr>
        </p15:guide>
        <p15:guide id="6" pos="299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ий слайд зовнішній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G:\Шаблоны\НБУ new\Presentation-05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756" b="8000"/>
          <a:stretch/>
        </p:blipFill>
        <p:spPr bwMode="auto">
          <a:xfrm>
            <a:off x="267881" y="575937"/>
            <a:ext cx="9452382" cy="6623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Прямая соединительная линия 22"/>
          <p:cNvCxnSpPr/>
          <p:nvPr userDrawn="1"/>
        </p:nvCxnSpPr>
        <p:spPr>
          <a:xfrm>
            <a:off x="4094756" y="6717353"/>
            <a:ext cx="5893388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4094756" y="1813706"/>
            <a:ext cx="5893388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Прямоугольник 6"/>
          <p:cNvSpPr/>
          <p:nvPr userDrawn="1"/>
        </p:nvSpPr>
        <p:spPr>
          <a:xfrm>
            <a:off x="0" y="-4264"/>
            <a:ext cx="6216516" cy="7207844"/>
          </a:xfrm>
          <a:custGeom>
            <a:avLst/>
            <a:gdLst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2231702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788795 w 2231702"/>
              <a:gd name="connsiteY2" fmla="*/ 6857999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231702"/>
              <a:gd name="connsiteY0" fmla="*/ 0 h 6857999"/>
              <a:gd name="connsiteX1" fmla="*/ 2231702 w 2231702"/>
              <a:gd name="connsiteY1" fmla="*/ 0 h 6857999"/>
              <a:gd name="connsiteX2" fmla="*/ 520347 w 2231702"/>
              <a:gd name="connsiteY2" fmla="*/ 6849610 h 6857999"/>
              <a:gd name="connsiteX3" fmla="*/ 0 w 2231702"/>
              <a:gd name="connsiteY3" fmla="*/ 6857999 h 6857999"/>
              <a:gd name="connsiteX4" fmla="*/ 0 w 2231702"/>
              <a:gd name="connsiteY4" fmla="*/ 0 h 6857999"/>
              <a:gd name="connsiteX0" fmla="*/ 0 w 2353622"/>
              <a:gd name="connsiteY0" fmla="*/ 10160 h 6868159"/>
              <a:gd name="connsiteX1" fmla="*/ 2353622 w 2353622"/>
              <a:gd name="connsiteY1" fmla="*/ 0 h 6868159"/>
              <a:gd name="connsiteX2" fmla="*/ 520347 w 2353622"/>
              <a:gd name="connsiteY2" fmla="*/ 6859770 h 6868159"/>
              <a:gd name="connsiteX3" fmla="*/ 0 w 2353622"/>
              <a:gd name="connsiteY3" fmla="*/ 6868159 h 6868159"/>
              <a:gd name="connsiteX4" fmla="*/ 0 w 2353622"/>
              <a:gd name="connsiteY4" fmla="*/ 10160 h 6868159"/>
              <a:gd name="connsiteX0" fmla="*/ 0 w 2384102"/>
              <a:gd name="connsiteY0" fmla="*/ 10160 h 6868159"/>
              <a:gd name="connsiteX1" fmla="*/ 2384102 w 2384102"/>
              <a:gd name="connsiteY1" fmla="*/ 0 h 6868159"/>
              <a:gd name="connsiteX2" fmla="*/ 520347 w 2384102"/>
              <a:gd name="connsiteY2" fmla="*/ 6859770 h 6868159"/>
              <a:gd name="connsiteX3" fmla="*/ 0 w 2384102"/>
              <a:gd name="connsiteY3" fmla="*/ 6868159 h 6868159"/>
              <a:gd name="connsiteX4" fmla="*/ 0 w 2384102"/>
              <a:gd name="connsiteY4" fmla="*/ 10160 h 6868159"/>
              <a:gd name="connsiteX0" fmla="*/ 0 w 2408486"/>
              <a:gd name="connsiteY0" fmla="*/ 0 h 6857999"/>
              <a:gd name="connsiteX1" fmla="*/ 2408486 w 2408486"/>
              <a:gd name="connsiteY1" fmla="*/ 2032 h 6857999"/>
              <a:gd name="connsiteX2" fmla="*/ 520347 w 2408486"/>
              <a:gd name="connsiteY2" fmla="*/ 6849610 h 6857999"/>
              <a:gd name="connsiteX3" fmla="*/ 0 w 2408486"/>
              <a:gd name="connsiteY3" fmla="*/ 6857999 h 6857999"/>
              <a:gd name="connsiteX4" fmla="*/ 0 w 2408486"/>
              <a:gd name="connsiteY4" fmla="*/ 0 h 6857999"/>
              <a:gd name="connsiteX0" fmla="*/ 0 w 2408486"/>
              <a:gd name="connsiteY0" fmla="*/ 0 h 6866702"/>
              <a:gd name="connsiteX1" fmla="*/ 2408486 w 2408486"/>
              <a:gd name="connsiteY1" fmla="*/ 2032 h 6866702"/>
              <a:gd name="connsiteX2" fmla="*/ 768175 w 2408486"/>
              <a:gd name="connsiteY2" fmla="*/ 6866702 h 6866702"/>
              <a:gd name="connsiteX3" fmla="*/ 0 w 2408486"/>
              <a:gd name="connsiteY3" fmla="*/ 6857999 h 6866702"/>
              <a:gd name="connsiteX4" fmla="*/ 0 w 2408486"/>
              <a:gd name="connsiteY4" fmla="*/ 0 h 6866702"/>
              <a:gd name="connsiteX0" fmla="*/ 0 w 5847972"/>
              <a:gd name="connsiteY0" fmla="*/ 6357 h 6864670"/>
              <a:gd name="connsiteX1" fmla="*/ 5847972 w 5847972"/>
              <a:gd name="connsiteY1" fmla="*/ 0 h 6864670"/>
              <a:gd name="connsiteX2" fmla="*/ 4207661 w 5847972"/>
              <a:gd name="connsiteY2" fmla="*/ 6864670 h 6864670"/>
              <a:gd name="connsiteX3" fmla="*/ 3439486 w 5847972"/>
              <a:gd name="connsiteY3" fmla="*/ 6855967 h 6864670"/>
              <a:gd name="connsiteX4" fmla="*/ 0 w 5847972"/>
              <a:gd name="connsiteY4" fmla="*/ 6357 h 6864670"/>
              <a:gd name="connsiteX0" fmla="*/ 0 w 5847972"/>
              <a:gd name="connsiteY0" fmla="*/ 6357 h 6866127"/>
              <a:gd name="connsiteX1" fmla="*/ 5847972 w 5847972"/>
              <a:gd name="connsiteY1" fmla="*/ 0 h 6866127"/>
              <a:gd name="connsiteX2" fmla="*/ 4207661 w 5847972"/>
              <a:gd name="connsiteY2" fmla="*/ 6864670 h 6866127"/>
              <a:gd name="connsiteX3" fmla="*/ 5406 w 5847972"/>
              <a:gd name="connsiteY3" fmla="*/ 6866127 h 6866127"/>
              <a:gd name="connsiteX4" fmla="*/ 0 w 5847972"/>
              <a:gd name="connsiteY4" fmla="*/ 6357 h 68661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47972" h="6866127">
                <a:moveTo>
                  <a:pt x="0" y="6357"/>
                </a:moveTo>
                <a:lnTo>
                  <a:pt x="5847972" y="0"/>
                </a:lnTo>
                <a:lnTo>
                  <a:pt x="4207661" y="6864670"/>
                </a:lnTo>
                <a:lnTo>
                  <a:pt x="5406" y="6866127"/>
                </a:lnTo>
                <a:lnTo>
                  <a:pt x="0" y="635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 dirty="0">
              <a:solidFill>
                <a:prstClr val="white"/>
              </a:solidFill>
            </a:endParaRPr>
          </a:p>
        </p:txBody>
      </p:sp>
      <p:sp>
        <p:nvSpPr>
          <p:cNvPr id="15" name="Прямоугольник 12"/>
          <p:cNvSpPr/>
          <p:nvPr userDrawn="1"/>
        </p:nvSpPr>
        <p:spPr>
          <a:xfrm>
            <a:off x="1" y="575937"/>
            <a:ext cx="3341478" cy="945585"/>
          </a:xfrm>
          <a:custGeom>
            <a:avLst/>
            <a:gdLst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3143379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588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  <a:gd name="connsiteX0" fmla="*/ 0 w 3143379"/>
              <a:gd name="connsiteY0" fmla="*/ 0 h 900756"/>
              <a:gd name="connsiteX1" fmla="*/ 3143379 w 3143379"/>
              <a:gd name="connsiteY1" fmla="*/ 0 h 900756"/>
              <a:gd name="connsiteX2" fmla="*/ 2933421 w 3143379"/>
              <a:gd name="connsiteY2" fmla="*/ 900756 h 900756"/>
              <a:gd name="connsiteX3" fmla="*/ 0 w 3143379"/>
              <a:gd name="connsiteY3" fmla="*/ 900756 h 900756"/>
              <a:gd name="connsiteX4" fmla="*/ 0 w 3143379"/>
              <a:gd name="connsiteY4" fmla="*/ 0 h 900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43379" h="900756">
                <a:moveTo>
                  <a:pt x="0" y="0"/>
                </a:moveTo>
                <a:lnTo>
                  <a:pt x="3143379" y="0"/>
                </a:lnTo>
                <a:lnTo>
                  <a:pt x="2933421" y="900756"/>
                </a:lnTo>
                <a:lnTo>
                  <a:pt x="0" y="900756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 dirty="0">
              <a:solidFill>
                <a:prstClr val="white"/>
              </a:solidFill>
            </a:endParaRPr>
          </a:p>
        </p:txBody>
      </p:sp>
      <p:pic>
        <p:nvPicPr>
          <p:cNvPr id="16" name="Picture 2" descr="D:\ANNA\РЕБРЕНДИНГ\Templates\PowerPoint\Logo.pn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557" y="820639"/>
            <a:ext cx="1913526" cy="511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841556" y="2654865"/>
            <a:ext cx="4018572" cy="944792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047" b="1" baseline="0">
                <a:solidFill>
                  <a:schemeClr val="bg2"/>
                </a:solidFill>
              </a:defRPr>
            </a:lvl1pPr>
          </a:lstStyle>
          <a:p>
            <a:r>
              <a:rPr lang="uk-UA" noProof="0" dirty="0" smtClean="0"/>
              <a:t>Заголовок</a:t>
            </a:r>
            <a:endParaRPr lang="uk-UA" noProof="0" dirty="0"/>
          </a:p>
        </p:txBody>
      </p:sp>
      <p:sp>
        <p:nvSpPr>
          <p:cNvPr id="1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41557" y="5867157"/>
            <a:ext cx="3857829" cy="3779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spcAft>
                <a:spcPts val="472"/>
              </a:spcAft>
              <a:buNone/>
              <a:defRPr sz="1102" b="1" baseline="0">
                <a:solidFill>
                  <a:schemeClr val="bg1"/>
                </a:solidFill>
              </a:defRPr>
            </a:lvl1pPr>
            <a:lvl2pPr marL="3599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9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79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99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59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19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79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noProof="0" dirty="0" smtClean="0"/>
              <a:t>Ім’я та прізвище</a:t>
            </a:r>
            <a:endParaRPr lang="uk-UA" noProof="0" dirty="0"/>
          </a:p>
        </p:txBody>
      </p:sp>
      <p:sp>
        <p:nvSpPr>
          <p:cNvPr id="19" name="Текст 14"/>
          <p:cNvSpPr>
            <a:spLocks noGrp="1"/>
          </p:cNvSpPr>
          <p:nvPr>
            <p:ph type="body" sz="quarter" idx="12" hasCustomPrompt="1"/>
          </p:nvPr>
        </p:nvSpPr>
        <p:spPr>
          <a:xfrm>
            <a:off x="841583" y="3790168"/>
            <a:ext cx="4018550" cy="75428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60">
                <a:solidFill>
                  <a:schemeClr val="bg1"/>
                </a:solidFill>
              </a:defRPr>
            </a:lvl1pPr>
          </a:lstStyle>
          <a:p>
            <a:pPr lvl="0"/>
            <a:r>
              <a:rPr lang="uk-UA" noProof="0" dirty="0" smtClean="0"/>
              <a:t>Підзаголовок</a:t>
            </a:r>
            <a:endParaRPr lang="uk-UA" noProof="0" dirty="0"/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4" hasCustomPrompt="1"/>
          </p:nvPr>
        </p:nvSpPr>
        <p:spPr>
          <a:xfrm>
            <a:off x="841557" y="6244785"/>
            <a:ext cx="3857829" cy="377917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2">
                <a:solidFill>
                  <a:schemeClr val="bg1"/>
                </a:solidFill>
              </a:defRPr>
            </a:lvl1pPr>
          </a:lstStyle>
          <a:p>
            <a:pPr lvl="0"/>
            <a:r>
              <a:rPr lang="uk-UA" noProof="0" dirty="0" smtClean="0"/>
              <a:t>Місто, дата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37143366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 userDrawn="1"/>
        </p:nvGrpSpPr>
        <p:grpSpPr>
          <a:xfrm>
            <a:off x="1" y="2087797"/>
            <a:ext cx="8874810" cy="3023720"/>
            <a:chOff x="0" y="1988816"/>
            <a:chExt cx="8348669" cy="2880368"/>
          </a:xfrm>
        </p:grpSpPr>
        <p:sp>
          <p:nvSpPr>
            <p:cNvPr id="22" name="Прямоугольник 6"/>
            <p:cNvSpPr/>
            <p:nvPr userDrawn="1"/>
          </p:nvSpPr>
          <p:spPr>
            <a:xfrm>
              <a:off x="7338385" y="1988816"/>
              <a:ext cx="1010284" cy="2880368"/>
            </a:xfrm>
            <a:custGeom>
              <a:avLst/>
              <a:gdLst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2231702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788795 w 2231702"/>
                <a:gd name="connsiteY2" fmla="*/ 6857999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231702"/>
                <a:gd name="connsiteY0" fmla="*/ 0 h 6857999"/>
                <a:gd name="connsiteX1" fmla="*/ 2231702 w 2231702"/>
                <a:gd name="connsiteY1" fmla="*/ 0 h 6857999"/>
                <a:gd name="connsiteX2" fmla="*/ 520347 w 2231702"/>
                <a:gd name="connsiteY2" fmla="*/ 6849610 h 6857999"/>
                <a:gd name="connsiteX3" fmla="*/ 0 w 2231702"/>
                <a:gd name="connsiteY3" fmla="*/ 6857999 h 6857999"/>
                <a:gd name="connsiteX4" fmla="*/ 0 w 2231702"/>
                <a:gd name="connsiteY4" fmla="*/ 0 h 6857999"/>
                <a:gd name="connsiteX0" fmla="*/ 0 w 2353622"/>
                <a:gd name="connsiteY0" fmla="*/ 10160 h 6868159"/>
                <a:gd name="connsiteX1" fmla="*/ 2353622 w 2353622"/>
                <a:gd name="connsiteY1" fmla="*/ 0 h 6868159"/>
                <a:gd name="connsiteX2" fmla="*/ 520347 w 2353622"/>
                <a:gd name="connsiteY2" fmla="*/ 6859770 h 6868159"/>
                <a:gd name="connsiteX3" fmla="*/ 0 w 2353622"/>
                <a:gd name="connsiteY3" fmla="*/ 6868159 h 6868159"/>
                <a:gd name="connsiteX4" fmla="*/ 0 w 2353622"/>
                <a:gd name="connsiteY4" fmla="*/ 10160 h 6868159"/>
                <a:gd name="connsiteX0" fmla="*/ 0 w 2384102"/>
                <a:gd name="connsiteY0" fmla="*/ 10160 h 6868159"/>
                <a:gd name="connsiteX1" fmla="*/ 2384102 w 2384102"/>
                <a:gd name="connsiteY1" fmla="*/ 0 h 6868159"/>
                <a:gd name="connsiteX2" fmla="*/ 520347 w 2384102"/>
                <a:gd name="connsiteY2" fmla="*/ 6859770 h 6868159"/>
                <a:gd name="connsiteX3" fmla="*/ 0 w 2384102"/>
                <a:gd name="connsiteY3" fmla="*/ 6868159 h 6868159"/>
                <a:gd name="connsiteX4" fmla="*/ 0 w 2384102"/>
                <a:gd name="connsiteY4" fmla="*/ 10160 h 6868159"/>
                <a:gd name="connsiteX0" fmla="*/ 0 w 2408486"/>
                <a:gd name="connsiteY0" fmla="*/ 0 h 6857999"/>
                <a:gd name="connsiteX1" fmla="*/ 2408486 w 2408486"/>
                <a:gd name="connsiteY1" fmla="*/ 2032 h 6857999"/>
                <a:gd name="connsiteX2" fmla="*/ 520347 w 2408486"/>
                <a:gd name="connsiteY2" fmla="*/ 6849610 h 6857999"/>
                <a:gd name="connsiteX3" fmla="*/ 0 w 2408486"/>
                <a:gd name="connsiteY3" fmla="*/ 6857999 h 6857999"/>
                <a:gd name="connsiteX4" fmla="*/ 0 w 2408486"/>
                <a:gd name="connsiteY4" fmla="*/ 0 h 6857999"/>
                <a:gd name="connsiteX0" fmla="*/ 0 w 2408486"/>
                <a:gd name="connsiteY0" fmla="*/ 0 h 6866702"/>
                <a:gd name="connsiteX1" fmla="*/ 2408486 w 2408486"/>
                <a:gd name="connsiteY1" fmla="*/ 2032 h 6866702"/>
                <a:gd name="connsiteX2" fmla="*/ 768175 w 2408486"/>
                <a:gd name="connsiteY2" fmla="*/ 6866702 h 6866702"/>
                <a:gd name="connsiteX3" fmla="*/ 0 w 2408486"/>
                <a:gd name="connsiteY3" fmla="*/ 6857999 h 6866702"/>
                <a:gd name="connsiteX4" fmla="*/ 0 w 2408486"/>
                <a:gd name="connsiteY4" fmla="*/ 0 h 6866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08486" h="6866702">
                  <a:moveTo>
                    <a:pt x="0" y="0"/>
                  </a:moveTo>
                  <a:lnTo>
                    <a:pt x="2408486" y="2032"/>
                  </a:lnTo>
                  <a:lnTo>
                    <a:pt x="768175" y="6866702"/>
                  </a:lnTo>
                  <a:lnTo>
                    <a:pt x="0" y="68579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1417">
                <a:solidFill>
                  <a:prstClr val="white"/>
                </a:solidFill>
              </a:endParaRPr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0" y="1988816"/>
              <a:ext cx="7452368" cy="2880368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1417">
                <a:solidFill>
                  <a:prstClr val="white"/>
                </a:solidFill>
              </a:endParaRPr>
            </a:p>
          </p:txBody>
        </p:sp>
      </p:grpSp>
      <p:sp>
        <p:nvSpPr>
          <p:cNvPr id="27" name="Прямоугольник 11"/>
          <p:cNvSpPr/>
          <p:nvPr userDrawn="1"/>
        </p:nvSpPr>
        <p:spPr>
          <a:xfrm>
            <a:off x="9070235" y="4544570"/>
            <a:ext cx="650030" cy="2654743"/>
          </a:xfrm>
          <a:custGeom>
            <a:avLst/>
            <a:gdLst>
              <a:gd name="connsiteX0" fmla="*/ 0 w 611493"/>
              <a:gd name="connsiteY0" fmla="*/ 0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  <a:gd name="connsiteX4" fmla="*/ 0 w 611493"/>
              <a:gd name="connsiteY4" fmla="*/ 0 h 2528884"/>
              <a:gd name="connsiteX0" fmla="*/ 0 w 611493"/>
              <a:gd name="connsiteY0" fmla="*/ 2528884 h 2528884"/>
              <a:gd name="connsiteX1" fmla="*/ 611493 w 611493"/>
              <a:gd name="connsiteY1" fmla="*/ 0 h 2528884"/>
              <a:gd name="connsiteX2" fmla="*/ 611493 w 611493"/>
              <a:gd name="connsiteY2" fmla="*/ 2528884 h 2528884"/>
              <a:gd name="connsiteX3" fmla="*/ 0 w 611493"/>
              <a:gd name="connsiteY3" fmla="*/ 2528884 h 252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1493" h="2528884">
                <a:moveTo>
                  <a:pt x="0" y="2528884"/>
                </a:moveTo>
                <a:lnTo>
                  <a:pt x="611493" y="0"/>
                </a:lnTo>
                <a:lnTo>
                  <a:pt x="611493" y="2528884"/>
                </a:lnTo>
                <a:lnTo>
                  <a:pt x="0" y="2528884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>
              <a:solidFill>
                <a:prstClr val="white"/>
              </a:solidFill>
            </a:endParaRPr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0" y="2087797"/>
            <a:ext cx="382688" cy="30237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17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89975" y="2639033"/>
            <a:ext cx="6314344" cy="566875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047" b="1" cap="none">
                <a:solidFill>
                  <a:schemeClr val="tx1"/>
                </a:solidFill>
              </a:defRPr>
            </a:lvl1pPr>
          </a:lstStyle>
          <a:p>
            <a:r>
              <a:rPr lang="uk-UA" noProof="0" dirty="0" smtClean="0"/>
              <a:t>Розділ №</a:t>
            </a:r>
            <a:endParaRPr lang="uk-UA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1989975" y="3221740"/>
            <a:ext cx="6314344" cy="113375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2047" b="1">
                <a:solidFill>
                  <a:schemeClr val="bg2"/>
                </a:solidFill>
              </a:defRPr>
            </a:lvl1pPr>
            <a:lvl2pPr marL="359976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2pPr>
            <a:lvl3pPr marL="719953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3pPr>
            <a:lvl4pPr marL="1079929" indent="0">
              <a:buNone/>
              <a:defRPr sz="1102">
                <a:solidFill>
                  <a:schemeClr val="tx1">
                    <a:tint val="75000"/>
                  </a:schemeClr>
                </a:solidFill>
              </a:defRPr>
            </a:lvl4pPr>
            <a:lvl5pPr marL="1439906" indent="0">
              <a:buNone/>
              <a:defRPr sz="1102">
                <a:solidFill>
                  <a:schemeClr val="tx1">
                    <a:tint val="75000"/>
                  </a:schemeClr>
                </a:solidFill>
              </a:defRPr>
            </a:lvl5pPr>
            <a:lvl6pPr marL="1799882" indent="0">
              <a:buNone/>
              <a:defRPr sz="1102">
                <a:solidFill>
                  <a:schemeClr val="tx1">
                    <a:tint val="75000"/>
                  </a:schemeClr>
                </a:solidFill>
              </a:defRPr>
            </a:lvl6pPr>
            <a:lvl7pPr marL="2159859" indent="0">
              <a:buNone/>
              <a:defRPr sz="1102">
                <a:solidFill>
                  <a:schemeClr val="tx1">
                    <a:tint val="75000"/>
                  </a:schemeClr>
                </a:solidFill>
              </a:defRPr>
            </a:lvl7pPr>
            <a:lvl8pPr marL="2519835" indent="0">
              <a:buNone/>
              <a:defRPr sz="1102">
                <a:solidFill>
                  <a:schemeClr val="tx1">
                    <a:tint val="75000"/>
                  </a:schemeClr>
                </a:solidFill>
              </a:defRPr>
            </a:lvl8pPr>
            <a:lvl9pPr marL="2879811" indent="0">
              <a:buNone/>
              <a:defRPr sz="110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noProof="0" dirty="0" smtClean="0"/>
              <a:t>Назва розділу</a:t>
            </a:r>
          </a:p>
        </p:txBody>
      </p:sp>
      <p:pic>
        <p:nvPicPr>
          <p:cNvPr id="29" name="Picture 4" descr="D:\ANNA\РЕБРЕНДИНГ\Templates\PowerPoint\19-01-2018_Presentation-06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6" r="81499"/>
          <a:stretch/>
        </p:blipFill>
        <p:spPr bwMode="auto">
          <a:xfrm>
            <a:off x="1" y="0"/>
            <a:ext cx="1491508" cy="7199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66348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11265" y="1259447"/>
            <a:ext cx="8154987" cy="504094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2"/>
            <a:ext cx="719287" cy="397992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400EF4-D14B-4B3E-8643-5A6D23594193}" type="slidenum">
              <a:rPr lang="uk-UA" smtClean="0">
                <a:solidFill>
                  <a:srgbClr val="057C48"/>
                </a:solidFill>
              </a:rPr>
              <a:pPr/>
              <a:t>‹№›</a:t>
            </a:fld>
            <a:endParaRPr lang="uk-UA" dirty="0">
              <a:solidFill>
                <a:srgbClr val="057C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015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706972"/>
            <a:ext cx="719287" cy="397992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400EF4-D14B-4B3E-8643-5A6D23594193}" type="slidenum">
              <a:rPr lang="uk-UA" smtClean="0">
                <a:solidFill>
                  <a:srgbClr val="057C48"/>
                </a:solidFill>
              </a:rPr>
              <a:pPr/>
              <a:t>‹№›</a:t>
            </a:fld>
            <a:endParaRPr lang="uk-UA" dirty="0">
              <a:solidFill>
                <a:srgbClr val="057C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868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29020" y="2236456"/>
            <a:ext cx="8262224" cy="154318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58040" y="4079612"/>
            <a:ext cx="6804184" cy="18398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55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10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65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21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76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131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872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842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86013" y="6672699"/>
            <a:ext cx="2268061" cy="383297"/>
          </a:xfrm>
          <a:prstGeom prst="rect">
            <a:avLst/>
          </a:prstGeom>
        </p:spPr>
        <p:txBody>
          <a:bodyPr/>
          <a:lstStyle/>
          <a:p>
            <a:endParaRPr lang="uk-UA">
              <a:solidFill>
                <a:srgbClr val="4D4D4F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21090" y="6672699"/>
            <a:ext cx="3078083" cy="383297"/>
          </a:xfrm>
          <a:prstGeom prst="rect">
            <a:avLst/>
          </a:prstGeom>
        </p:spPr>
        <p:txBody>
          <a:bodyPr/>
          <a:lstStyle/>
          <a:p>
            <a:endParaRPr lang="uk-UA">
              <a:solidFill>
                <a:srgbClr val="4D4D4F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F16991-FCBB-409E-A9CD-6DD974ACE398}" type="slidenum">
              <a:rPr lang="uk-UA" smtClean="0">
                <a:solidFill>
                  <a:srgbClr val="4D4D4F">
                    <a:tint val="75000"/>
                  </a:srgbClr>
                </a:solidFill>
              </a:rPr>
              <a:pPr/>
              <a:t>‹№›</a:t>
            </a:fld>
            <a:endParaRPr lang="uk-UA">
              <a:solidFill>
                <a:srgbClr val="4D4D4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202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565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619672" y="535818"/>
            <a:ext cx="7056784" cy="46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259632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 userDrawn="1"/>
        </p:nvCxnSpPr>
        <p:spPr>
          <a:xfrm>
            <a:off x="1259632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endParaRPr lang="uk-UA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04857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4" y="6827788"/>
            <a:ext cx="719287" cy="397993"/>
          </a:xfrm>
          <a:prstGeom prst="rect">
            <a:avLst/>
          </a:prstGeom>
        </p:spPr>
        <p:txBody>
          <a:bodyPr lIns="96661" tIns="48331" rIns="96661" bIns="48331" anchor="ctr"/>
          <a:lstStyle>
            <a:lvl1pPr>
              <a:defRPr sz="1600">
                <a:solidFill>
                  <a:schemeClr val="accent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/>
              <a:pPr algn="r"/>
              <a:t>‹№›</a:t>
            </a:fld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14282" y="982231"/>
            <a:ext cx="8154987" cy="504094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85851" y="292011"/>
            <a:ext cx="8120063" cy="44097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8304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Группа 10"/>
          <p:cNvGrpSpPr/>
          <p:nvPr/>
        </p:nvGrpSpPr>
        <p:grpSpPr>
          <a:xfrm>
            <a:off x="0" y="2"/>
            <a:ext cx="267294" cy="1132076"/>
            <a:chOff x="0" y="0"/>
            <a:chExt cx="251448" cy="1078405"/>
          </a:xfrm>
        </p:grpSpPr>
        <p:sp>
          <p:nvSpPr>
            <p:cNvPr id="8" name="Прямоугольник 7"/>
            <p:cNvSpPr/>
            <p:nvPr userDrawn="1"/>
          </p:nvSpPr>
          <p:spPr>
            <a:xfrm>
              <a:off x="0" y="0"/>
              <a:ext cx="251448" cy="540000"/>
            </a:xfrm>
            <a:prstGeom prst="rect">
              <a:avLst/>
            </a:prstGeom>
            <a:solidFill>
              <a:srgbClr val="EEEB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1417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ик 8"/>
            <p:cNvSpPr/>
            <p:nvPr userDrawn="1"/>
          </p:nvSpPr>
          <p:spPr>
            <a:xfrm>
              <a:off x="0" y="538405"/>
              <a:ext cx="251448" cy="540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sz="1417">
                <a:solidFill>
                  <a:prstClr val="white"/>
                </a:solidFill>
              </a:endParaRPr>
            </a:p>
          </p:txBody>
        </p:sp>
        <p:pic>
          <p:nvPicPr>
            <p:cNvPr id="10" name="Picture 4" descr="D:\ANNA\РЕБРЕНДИНГ\Templates\PowerPoint\19-01-2018_Presentation-06.png"/>
            <p:cNvPicPr>
              <a:picLocks noChangeAspect="1" noChangeArrowheads="1"/>
            </p:cNvPicPr>
            <p:nvPr userDrawn="1"/>
          </p:nvPicPr>
          <p:blipFill rotWithShape="1"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260" t="6043" r="92989" b="86083"/>
            <a:stretch/>
          </p:blipFill>
          <p:spPr bwMode="auto">
            <a:xfrm>
              <a:off x="0" y="538405"/>
              <a:ext cx="251448" cy="54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66189" y="6672699"/>
            <a:ext cx="2268061" cy="3832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4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FB3B38-107A-41A8-AB75-3D42100AC2B6}" type="slidenum">
              <a:rPr lang="uk-UA" smtClean="0">
                <a:solidFill>
                  <a:srgbClr val="4D4D4F">
                    <a:tint val="75000"/>
                  </a:srgbClr>
                </a:solidFill>
              </a:rPr>
              <a:pPr/>
              <a:t>‹№›</a:t>
            </a:fld>
            <a:endParaRPr lang="uk-UA" dirty="0">
              <a:solidFill>
                <a:srgbClr val="4D4D4F">
                  <a:tint val="75000"/>
                </a:srgbClr>
              </a:solidFill>
            </a:endParaRPr>
          </a:p>
        </p:txBody>
      </p:sp>
      <p:cxnSp>
        <p:nvCxnSpPr>
          <p:cNvPr id="15" name="Пряма сполучна лінія 7"/>
          <p:cNvCxnSpPr/>
          <p:nvPr/>
        </p:nvCxnSpPr>
        <p:spPr>
          <a:xfrm>
            <a:off x="847617" y="1143198"/>
            <a:ext cx="8419125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847617" y="360093"/>
            <a:ext cx="8419125" cy="7558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uk-UA" noProof="0" dirty="0" smtClean="0"/>
              <a:t>Зразок заголовка</a:t>
            </a:r>
            <a:endParaRPr lang="uk-UA" noProof="0" dirty="0"/>
          </a:p>
        </p:txBody>
      </p:sp>
    </p:spTree>
    <p:extLst>
      <p:ext uri="{BB962C8B-B14F-4D97-AF65-F5344CB8AC3E}">
        <p14:creationId xmlns:p14="http://schemas.microsoft.com/office/powerpoint/2010/main" val="3117080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40" r:id="rId13"/>
    <p:sldLayoutId id="2147483741" r:id="rId14"/>
    <p:sldLayoutId id="2147483742" r:id="rId15"/>
    <p:sldLayoutId id="2147483744" r:id="rId16"/>
    <p:sldLayoutId id="2147483750" r:id="rId17"/>
    <p:sldLayoutId id="2147483751" r:id="rId18"/>
    <p:sldLayoutId id="2147483752" r:id="rId19"/>
    <p:sldLayoutId id="2147483754" r:id="rId20"/>
    <p:sldLayoutId id="2147483755" r:id="rId21"/>
    <p:sldLayoutId id="2147483756" r:id="rId22"/>
    <p:sldLayoutId id="2147483757" r:id="rId23"/>
    <p:sldLayoutId id="2147483773" r:id="rId24"/>
  </p:sldLayoutIdLst>
  <p:hf hdr="0" ftr="0" dt="0"/>
  <p:txStyles>
    <p:titleStyle>
      <a:lvl1pPr algn="l" defTabSz="719953" rtl="0" eaLnBrk="1" latinLnBrk="0" hangingPunct="1">
        <a:spcBef>
          <a:spcPct val="0"/>
        </a:spcBef>
        <a:buNone/>
        <a:defRPr sz="1575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982" indent="-269982" algn="l" defTabSz="719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584962" indent="-224986" algn="l" defTabSz="719953" rtl="0" eaLnBrk="1" latinLnBrk="0" hangingPunct="1">
        <a:spcBef>
          <a:spcPct val="20000"/>
        </a:spcBef>
        <a:buFont typeface="Arial" panose="020B0604020202020204" pitchFamily="34" charset="0"/>
        <a:buChar char="–"/>
        <a:defRPr sz="2205" kern="1200">
          <a:solidFill>
            <a:schemeClr val="tx1"/>
          </a:solidFill>
          <a:latin typeface="+mn-lt"/>
          <a:ea typeface="+mn-ea"/>
          <a:cs typeface="+mn-cs"/>
        </a:defRPr>
      </a:lvl2pPr>
      <a:lvl3pPr marL="899941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259917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–"/>
        <a:defRPr sz="1575" kern="1200">
          <a:solidFill>
            <a:schemeClr val="tx1"/>
          </a:solidFill>
          <a:latin typeface="+mn-lt"/>
          <a:ea typeface="+mn-ea"/>
          <a:cs typeface="+mn-cs"/>
        </a:defRPr>
      </a:lvl4pPr>
      <a:lvl5pPr marL="1619894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»"/>
        <a:defRPr sz="1575" kern="1200">
          <a:solidFill>
            <a:schemeClr val="tx1"/>
          </a:solidFill>
          <a:latin typeface="+mn-lt"/>
          <a:ea typeface="+mn-ea"/>
          <a:cs typeface="+mn-cs"/>
        </a:defRPr>
      </a:lvl5pPr>
      <a:lvl6pPr marL="1979870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39847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699823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059800" indent="-179988" algn="l" defTabSz="71995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1pPr>
      <a:lvl2pPr marL="359976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2pPr>
      <a:lvl3pPr marL="719953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3pPr>
      <a:lvl4pPr marL="1079929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4pPr>
      <a:lvl5pPr marL="1439906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5pPr>
      <a:lvl6pPr marL="1799882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6pPr>
      <a:lvl7pPr marL="2159859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7pPr>
      <a:lvl8pPr marL="2519835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8pPr>
      <a:lvl9pPr marL="2879811" algn="l" defTabSz="719953" rtl="0" eaLnBrk="1" latinLnBrk="0" hangingPunct="1">
        <a:defRPr sz="14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2400" dirty="0" err="1" smtClean="0"/>
              <a:t>Ринок</a:t>
            </a:r>
            <a:r>
              <a:rPr lang="ru-RU" sz="2400" dirty="0" smtClean="0"/>
              <a:t> </a:t>
            </a:r>
            <a:r>
              <a:rPr lang="ru-RU" sz="2400" dirty="0" err="1" smtClean="0"/>
              <a:t>платіжних</a:t>
            </a:r>
            <a:r>
              <a:rPr lang="ru-RU" sz="2400" dirty="0" smtClean="0"/>
              <a:t> </a:t>
            </a:r>
            <a:r>
              <a:rPr lang="ru-RU" sz="2400" dirty="0" err="1" smtClean="0"/>
              <a:t>карток</a:t>
            </a:r>
            <a:r>
              <a:rPr lang="ru-RU" sz="2400" dirty="0" smtClean="0"/>
              <a:t> </a:t>
            </a:r>
            <a:r>
              <a:rPr lang="ru-RU" sz="2400" dirty="0" err="1" smtClean="0"/>
              <a:t>України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2018 </a:t>
            </a:r>
            <a:r>
              <a:rPr lang="ru-RU" sz="2400" dirty="0" err="1" smtClean="0"/>
              <a:t>рік</a:t>
            </a:r>
            <a:endParaRPr lang="uk-UA" sz="2400" dirty="0"/>
          </a:p>
        </p:txBody>
      </p:sp>
      <p:sp>
        <p:nvSpPr>
          <p:cNvPr id="4" name="Місце для тексту 7"/>
          <p:cNvSpPr>
            <a:spLocks noGrp="1"/>
          </p:cNvSpPr>
          <p:nvPr>
            <p:ph type="body" sz="quarter" idx="14"/>
          </p:nvPr>
        </p:nvSpPr>
        <p:spPr>
          <a:xfrm>
            <a:off x="2372662" y="6274050"/>
            <a:ext cx="4592250" cy="764022"/>
          </a:xfrm>
        </p:spPr>
        <p:txBody>
          <a:bodyPr/>
          <a:lstStyle/>
          <a:p>
            <a:pPr algn="l"/>
            <a:r>
              <a:rPr lang="ru-RU" b="1" dirty="0" err="1" smtClean="0"/>
              <a:t>Нац</a:t>
            </a:r>
            <a:r>
              <a:rPr lang="uk-UA" b="1" dirty="0" smtClean="0"/>
              <a:t>і</a:t>
            </a:r>
            <a:r>
              <a:rPr lang="ru-RU" b="1" dirty="0" err="1" smtClean="0"/>
              <a:t>ональний</a:t>
            </a:r>
            <a:r>
              <a:rPr lang="ru-RU" b="1" dirty="0" smtClean="0"/>
              <a:t> банк </a:t>
            </a:r>
            <a:r>
              <a:rPr lang="ru-RU" b="1" dirty="0" err="1" smtClean="0"/>
              <a:t>України</a:t>
            </a:r>
            <a:endParaRPr lang="ru-RU" b="1" dirty="0" smtClean="0"/>
          </a:p>
          <a:p>
            <a:pPr algn="l"/>
            <a:r>
              <a:rPr lang="ru-RU" b="1" dirty="0" smtClean="0"/>
              <a:t>Ольга Василєва</a:t>
            </a:r>
            <a:endParaRPr lang="ru-RU" b="1" dirty="0" smtClean="0"/>
          </a:p>
          <a:p>
            <a:pPr algn="l"/>
            <a:r>
              <a:rPr lang="ru-RU" dirty="0" smtClean="0"/>
              <a:t>Київ, </a:t>
            </a:r>
            <a:r>
              <a:rPr lang="ru-RU" dirty="0" err="1" smtClean="0"/>
              <a:t>березень</a:t>
            </a:r>
            <a:r>
              <a:rPr lang="ru-RU" dirty="0" smtClean="0"/>
              <a:t> </a:t>
            </a:r>
            <a:r>
              <a:rPr lang="ru-RU" dirty="0" smtClean="0"/>
              <a:t>2019 рок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296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 err="1"/>
              <a:t>Операції</a:t>
            </a:r>
            <a:r>
              <a:rPr lang="ru-RU" sz="2000" dirty="0"/>
              <a:t> з </a:t>
            </a:r>
            <a:r>
              <a:rPr lang="ru-RU" sz="2000" dirty="0" err="1"/>
              <a:t>використанням</a:t>
            </a:r>
            <a:r>
              <a:rPr lang="ru-RU" sz="2000" dirty="0"/>
              <a:t> </a:t>
            </a:r>
            <a:r>
              <a:rPr lang="ru-RU" sz="2000" dirty="0" err="1"/>
              <a:t>платіжних</a:t>
            </a:r>
            <a:r>
              <a:rPr lang="ru-RU" sz="2000" dirty="0"/>
              <a:t> </a:t>
            </a:r>
            <a:r>
              <a:rPr lang="ru-RU" sz="2000" dirty="0" err="1" smtClean="0"/>
              <a:t>карток</a:t>
            </a:r>
            <a:r>
              <a:rPr lang="ru-RU" sz="2000" dirty="0" smtClean="0"/>
              <a:t>, </a:t>
            </a:r>
            <a:r>
              <a:rPr lang="ru-RU" sz="2000" dirty="0" err="1"/>
              <a:t>емітованих</a:t>
            </a:r>
            <a:r>
              <a:rPr lang="ru-RU" sz="2000" dirty="0"/>
              <a:t> </a:t>
            </a:r>
            <a:r>
              <a:rPr lang="ru-RU" sz="2000" dirty="0" err="1"/>
              <a:t>українськими</a:t>
            </a:r>
            <a:r>
              <a:rPr lang="ru-RU" sz="2000" dirty="0"/>
              <a:t> банками в 2018 </a:t>
            </a:r>
            <a:r>
              <a:rPr lang="ru-RU" sz="2000" dirty="0" err="1"/>
              <a:t>році</a:t>
            </a:r>
            <a:endParaRPr lang="ru-RU" sz="2000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>
          <a:xfrm>
            <a:off x="7410663" y="6526337"/>
            <a:ext cx="1913438" cy="377917"/>
          </a:xfrm>
        </p:spPr>
        <p:txBody>
          <a:bodyPr/>
          <a:lstStyle/>
          <a:p>
            <a:fld id="{2BFB3B38-107A-41A8-AB75-3D42100AC2B6}" type="slidenum">
              <a:rPr lang="uk-UA" smtClean="0"/>
              <a:t>2</a:t>
            </a:fld>
            <a:endParaRPr lang="uk-UA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29957"/>
            <a:ext cx="9720263" cy="5858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77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Ринок</a:t>
            </a:r>
            <a:r>
              <a:rPr lang="ru-RU" dirty="0"/>
              <a:t> </a:t>
            </a:r>
            <a:r>
              <a:rPr lang="ru-RU" dirty="0" err="1"/>
              <a:t>платіжних</a:t>
            </a:r>
            <a:r>
              <a:rPr lang="ru-RU" dirty="0"/>
              <a:t> </a:t>
            </a:r>
            <a:r>
              <a:rPr lang="ru-RU" dirty="0" err="1" smtClean="0"/>
              <a:t>карток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 </a:t>
            </a:r>
            <a:r>
              <a:rPr lang="ru-RU" dirty="0"/>
              <a:t>2018 </a:t>
            </a:r>
            <a:r>
              <a:rPr lang="ru-RU" dirty="0" err="1"/>
              <a:t>рік</a:t>
            </a:r>
            <a:endParaRPr lang="uk-UA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FB3B38-107A-41A8-AB75-3D42100AC2B6}" type="slidenum">
              <a:rPr lang="uk-UA" smtClean="0"/>
              <a:t>3</a:t>
            </a:fld>
            <a:endParaRPr lang="uk-UA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79" y="1217064"/>
            <a:ext cx="9720263" cy="5900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83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Платіжна</a:t>
            </a:r>
            <a:r>
              <a:rPr lang="ru-RU" dirty="0"/>
              <a:t> </a:t>
            </a:r>
            <a:r>
              <a:rPr lang="ru-RU" dirty="0" err="1" smtClean="0"/>
              <a:t>інфраструктура</a:t>
            </a:r>
            <a:r>
              <a:rPr lang="ru-RU" dirty="0" smtClean="0"/>
              <a:t>*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2018 </a:t>
            </a:r>
            <a:r>
              <a:rPr lang="ru-RU" dirty="0" err="1"/>
              <a:t>рік</a:t>
            </a:r>
            <a:endParaRPr lang="uk-UA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FB3B38-107A-41A8-AB75-3D42100AC2B6}" type="slidenum">
              <a:rPr lang="uk-UA" smtClean="0"/>
              <a:t>4</a:t>
            </a:fld>
            <a:endParaRPr lang="uk-UA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85160"/>
            <a:ext cx="9720263" cy="5914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974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uk-UA" sz="1800" dirty="0"/>
              <a:t>Р</a:t>
            </a:r>
            <a:r>
              <a:rPr lang="ru-RU" sz="1800" dirty="0" err="1" smtClean="0"/>
              <a:t>озподіл</a:t>
            </a:r>
            <a:r>
              <a:rPr lang="ru-RU" sz="1800" dirty="0" smtClean="0"/>
              <a:t> </a:t>
            </a:r>
            <a:r>
              <a:rPr lang="ru-RU" sz="1800" dirty="0" err="1"/>
              <a:t>безготівкових</a:t>
            </a:r>
            <a:r>
              <a:rPr lang="ru-RU" sz="1800" dirty="0"/>
              <a:t> </a:t>
            </a:r>
            <a:r>
              <a:rPr lang="ru-RU" sz="1800" dirty="0" err="1"/>
              <a:t>операцій</a:t>
            </a:r>
            <a:r>
              <a:rPr lang="ru-RU" sz="1800" dirty="0"/>
              <a:t> </a:t>
            </a:r>
            <a:r>
              <a:rPr lang="ru-RU" sz="1800" dirty="0" err="1"/>
              <a:t>із</a:t>
            </a:r>
            <a:r>
              <a:rPr lang="ru-RU" sz="1800" dirty="0"/>
              <a:t> </a:t>
            </a:r>
            <a:r>
              <a:rPr lang="ru-RU" sz="1800" dirty="0" err="1"/>
              <a:t>використанням</a:t>
            </a:r>
            <a:r>
              <a:rPr lang="ru-RU" sz="1800" dirty="0"/>
              <a:t> </a:t>
            </a:r>
            <a:r>
              <a:rPr lang="ru-RU" sz="1800" dirty="0" err="1"/>
              <a:t>платіжних</a:t>
            </a:r>
            <a:r>
              <a:rPr lang="ru-RU" sz="1800" dirty="0"/>
              <a:t> </a:t>
            </a:r>
            <a:r>
              <a:rPr lang="ru-RU" sz="1800" dirty="0" err="1" smtClean="0"/>
              <a:t>карток</a:t>
            </a:r>
            <a:r>
              <a:rPr lang="en-US" sz="1800" dirty="0" smtClean="0"/>
              <a:t/>
            </a:r>
            <a:br>
              <a:rPr lang="en-US" sz="1800" dirty="0" smtClean="0"/>
            </a:br>
            <a:r>
              <a:rPr lang="ru-RU" sz="1800" dirty="0" smtClean="0"/>
              <a:t>2018 </a:t>
            </a:r>
            <a:r>
              <a:rPr lang="ru-RU" sz="1800" dirty="0" err="1"/>
              <a:t>рік</a:t>
            </a:r>
            <a:endParaRPr lang="uk-UA" sz="1800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FB3B38-107A-41A8-AB75-3D42100AC2B6}" type="slidenum">
              <a:rPr lang="uk-UA" smtClean="0"/>
              <a:t>5</a:t>
            </a:fld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86" y="1252561"/>
            <a:ext cx="9404953" cy="5630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121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Динаміка</a:t>
            </a:r>
            <a:r>
              <a:rPr lang="ru-RU" dirty="0" smtClean="0"/>
              <a:t> </a:t>
            </a:r>
            <a:r>
              <a:rPr lang="ru-RU" dirty="0" err="1" smtClean="0"/>
              <a:t>розподілу</a:t>
            </a:r>
            <a:r>
              <a:rPr lang="ru-RU" dirty="0" smtClean="0"/>
              <a:t> </a:t>
            </a:r>
            <a:r>
              <a:rPr lang="ru-RU" dirty="0" err="1"/>
              <a:t>безготівкових</a:t>
            </a:r>
            <a:r>
              <a:rPr lang="ru-RU" dirty="0"/>
              <a:t> </a:t>
            </a:r>
            <a:r>
              <a:rPr lang="ru-RU" dirty="0" err="1" smtClean="0"/>
              <a:t>операцій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2018 </a:t>
            </a:r>
            <a:r>
              <a:rPr lang="ru-RU" dirty="0" err="1"/>
              <a:t>рік</a:t>
            </a:r>
            <a:endParaRPr lang="uk-UA" dirty="0"/>
          </a:p>
        </p:txBody>
      </p:sp>
      <p:sp>
        <p:nvSpPr>
          <p:cNvPr id="3" name="Місце для номера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FB3B38-107A-41A8-AB75-3D42100AC2B6}" type="slidenum">
              <a:rPr lang="uk-UA" smtClean="0"/>
              <a:t>6</a:t>
            </a:fld>
            <a:endParaRPr lang="uk-UA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14340"/>
            <a:ext cx="9720263" cy="550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195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і слайди">
  <a:themeElements>
    <a:clrScheme name="Стандартная">
      <a:dk1>
        <a:srgbClr val="4D4D4F"/>
      </a:dk1>
      <a:lt1>
        <a:sysClr val="window" lastClr="FFFFFF"/>
      </a:lt1>
      <a:dk2>
        <a:srgbClr val="4D4D4F"/>
      </a:dk2>
      <a:lt2>
        <a:srgbClr val="057C48"/>
      </a:lt2>
      <a:accent1>
        <a:srgbClr val="057C48"/>
      </a:accent1>
      <a:accent2>
        <a:srgbClr val="91CA64"/>
      </a:accent2>
      <a:accent3>
        <a:srgbClr val="50748A"/>
      </a:accent3>
      <a:accent4>
        <a:srgbClr val="8D9DD0"/>
      </a:accent4>
      <a:accent5>
        <a:srgbClr val="A3417C"/>
      </a:accent5>
      <a:accent6>
        <a:srgbClr val="CD76B0"/>
      </a:accent6>
      <a:hlink>
        <a:srgbClr val="50748A"/>
      </a:hlink>
      <a:folHlink>
        <a:srgbClr val="8D9DD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ack">
      <a:srgbClr val="000000"/>
    </a:custClr>
    <a:custClr name="Grey">
      <a:srgbClr val="4D4D4F"/>
    </a:custClr>
    <a:custClr name="Dark Green">
      <a:srgbClr val="057C48"/>
    </a:custClr>
    <a:custClr name="Light Green">
      <a:srgbClr val="91CA64"/>
    </a:custClr>
    <a:custClr name="Dark Blue">
      <a:srgbClr val="50748A"/>
    </a:custClr>
    <a:custClr name="Light Blue">
      <a:srgbClr val="8D9DD0"/>
    </a:custClr>
    <a:custClr name="Dark Magenta">
      <a:srgbClr val="A3417C"/>
    </a:custClr>
    <a:custClr name="Light Magenta">
      <a:srgbClr val="CD76B0"/>
    </a:custClr>
    <a:custClr name="Light Rose">
      <a:srgbClr val="F79D91"/>
    </a:custClr>
    <a:custClr name="Peach">
      <a:srgbClr val="F9D491"/>
    </a:custClr>
  </a:custClrLst>
  <a:extLst>
    <a:ext uri="{05A4C25C-085E-4340-85A3-A5531E510DB2}">
      <thm15:themeFamily xmlns:thm15="http://schemas.microsoft.com/office/thememl/2012/main" name="4x3_NBU_Template_26-01" id="{FB1D64FF-6DC0-4414-8F38-9E3CBFF6947E}" vid="{E3253056-D27D-4B93-B603-31392808A341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661</TotalTime>
  <Words>51</Words>
  <Application>Microsoft Office PowerPoint</Application>
  <PresentationFormat>Довільний</PresentationFormat>
  <Paragraphs>14</Paragraphs>
  <Slides>6</Slides>
  <Notes>2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5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6</vt:i4>
      </vt:variant>
    </vt:vector>
  </HeadingPairs>
  <TitlesOfParts>
    <vt:vector size="13" baseType="lpstr">
      <vt:lpstr>MS PGothic</vt:lpstr>
      <vt:lpstr>Arial</vt:lpstr>
      <vt:lpstr>Calibri</vt:lpstr>
      <vt:lpstr>Times New Roman</vt:lpstr>
      <vt:lpstr>Wingdings</vt:lpstr>
      <vt:lpstr>Титульні слайди</vt:lpstr>
      <vt:lpstr>think-cell Slide</vt:lpstr>
      <vt:lpstr>Ринок платіжних карток України 2018 рік</vt:lpstr>
      <vt:lpstr>Операції з використанням платіжних карток, емітованих українськими банками в 2018 році</vt:lpstr>
      <vt:lpstr>Ринок платіжних карток  2018 рік</vt:lpstr>
      <vt:lpstr>Платіжна інфраструктура* 2018 рік</vt:lpstr>
      <vt:lpstr>Розподіл безготівкових операцій із використанням платіжних карток 2018 рік</vt:lpstr>
      <vt:lpstr>Динаміка розподілу безготівкових операцій 2018 рік</vt:lpstr>
    </vt:vector>
  </TitlesOfParts>
  <Company>nb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агурський Олексій Вікторович</dc:creator>
  <cp:lastModifiedBy>Шолох Юлія Миколаївна</cp:lastModifiedBy>
  <cp:revision>2533</cp:revision>
  <cp:lastPrinted>2018-11-16T07:34:19Z</cp:lastPrinted>
  <dcterms:created xsi:type="dcterms:W3CDTF">2017-01-31T15:16:40Z</dcterms:created>
  <dcterms:modified xsi:type="dcterms:W3CDTF">2019-03-14T17:13:47Z</dcterms:modified>
</cp:coreProperties>
</file>